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4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5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Override16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87" r:id="rId2"/>
  </p:sldIdLst>
  <p:sldSz cx="9144000" cy="5715000" type="screen16x10"/>
  <p:notesSz cx="6797675" cy="987425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4">
          <p15:clr>
            <a:srgbClr val="A4A3A4"/>
          </p15:clr>
        </p15:guide>
        <p15:guide id="2" orient="horz" pos="3252">
          <p15:clr>
            <a:srgbClr val="A4A3A4"/>
          </p15:clr>
        </p15:guide>
        <p15:guide id="3" orient="horz" pos="76">
          <p15:clr>
            <a:srgbClr val="A4A3A4"/>
          </p15:clr>
        </p15:guide>
        <p15:guide id="4" pos="158">
          <p15:clr>
            <a:srgbClr val="A4A3A4"/>
          </p15:clr>
        </p15:guide>
        <p15:guide id="5" pos="4306" userDrawn="1">
          <p15:clr>
            <a:srgbClr val="A4A3A4"/>
          </p15:clr>
        </p15:guide>
        <p15:guide id="6" pos="4286" userDrawn="1">
          <p15:clr>
            <a:srgbClr val="A4A3A4"/>
          </p15:clr>
        </p15:guide>
        <p15:guide id="7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10">
          <p15:clr>
            <a:srgbClr val="A4A3A4"/>
          </p15:clr>
        </p15:guide>
        <p15:guide id="4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4B300"/>
    <a:srgbClr val="925297"/>
    <a:srgbClr val="D82034"/>
    <a:srgbClr val="DE822B"/>
    <a:srgbClr val="FFFFFF"/>
    <a:srgbClr val="6F1975"/>
    <a:srgbClr val="DFDFDF"/>
    <a:srgbClr val="DBC5DC"/>
    <a:srgbClr val="6D1874"/>
    <a:srgbClr val="9D00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408" autoAdjust="0"/>
    <p:restoredTop sz="94660"/>
  </p:normalViewPr>
  <p:slideViewPr>
    <p:cSldViewPr>
      <p:cViewPr varScale="1">
        <p:scale>
          <a:sx n="118" d="100"/>
          <a:sy n="118" d="100"/>
        </p:scale>
        <p:origin x="792" y="106"/>
      </p:cViewPr>
      <p:guideLst>
        <p:guide orient="horz" pos="984"/>
        <p:guide orient="horz" pos="3252"/>
        <p:guide orient="horz" pos="76"/>
        <p:guide pos="158"/>
        <p:guide pos="4306"/>
        <p:guide pos="4286"/>
        <p:guide pos="55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8" d="100"/>
          <a:sy n="98" d="100"/>
        </p:scale>
        <p:origin x="-3564" y="-96"/>
      </p:cViewPr>
      <p:guideLst>
        <p:guide orient="horz" pos="2880"/>
        <p:guide pos="2160"/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FC0025-D9A6-4733-84A8-1C8173CC511E}" type="datetimeFigureOut">
              <a:rPr lang="en-GB" smtClean="0"/>
              <a:t>13/04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5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5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56E4D8-A29D-49D7-8203-CE6165357BC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923777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68FD12-72FF-404D-9644-766ED5A34FEC}" type="datetimeFigureOut">
              <a:rPr lang="en-GB" smtClean="0"/>
              <a:t>13/04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739775"/>
            <a:ext cx="59245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5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5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B6037E-FD10-4B5A-B8DF-BE8A41E026D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549352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26783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5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hemeOverride" Target="../theme/themeOverride16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themeOverride" Target="../theme/themeOverride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themeOverride" Target="../theme/themeOverride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5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coBackground" hidden="1"/>
          <p:cNvSpPr/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95537" y="1872616"/>
            <a:ext cx="5616325" cy="984885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en-GB" b="0" cap="none" baseline="0" noProof="0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95287" y="3073176"/>
            <a:ext cx="5616575" cy="138499"/>
          </a:xfrm>
        </p:spPr>
        <p:txBody>
          <a:bodyPr wrap="square" lIns="0">
            <a:spAutoFit/>
          </a:bodyPr>
          <a:lstStyle>
            <a:lvl1pPr marL="0" indent="0" algn="l">
              <a:spcAft>
                <a:spcPts val="0"/>
              </a:spcAft>
              <a:buNone/>
              <a:defRPr sz="9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 smtClean="0"/>
              <a:t>Formatvorlage des Untertitelmasters durch Klicken bearbeiten</a:t>
            </a:r>
            <a:endParaRPr lang="de-CH" noProof="0" dirty="0"/>
          </a:p>
        </p:txBody>
      </p:sp>
      <p:sp>
        <p:nvSpPr>
          <p:cNvPr id="11" name="Status" hidden="1"/>
          <p:cNvSpPr txBox="1"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ogoFrame"/>
          <p:cNvSpPr>
            <a:spLocks/>
          </p:cNvSpPr>
          <p:nvPr userDrawn="1">
            <p:custDataLst>
              <p:tags r:id="rId6"/>
            </p:custDataLst>
          </p:nvPr>
        </p:nvSpPr>
        <p:spPr bwMode="white">
          <a:xfrm>
            <a:off x="7192950" y="-7200"/>
            <a:ext cx="1627200" cy="1368458"/>
          </a:xfrm>
          <a:custGeom>
            <a:avLst/>
            <a:gdLst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4112861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4537" h="4112861">
                <a:moveTo>
                  <a:pt x="0" y="0"/>
                </a:moveTo>
                <a:lnTo>
                  <a:pt x="4824537" y="0"/>
                </a:lnTo>
                <a:lnTo>
                  <a:pt x="4824537" y="3751737"/>
                </a:lnTo>
                <a:cubicBezTo>
                  <a:pt x="3231541" y="3785819"/>
                  <a:pt x="1634302" y="3906720"/>
                  <a:pt x="0" y="411286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508367" y="252476"/>
            <a:ext cx="996442" cy="84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133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ull width Content" preserve="1" userDrawn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250823" y="1562099"/>
            <a:ext cx="8569327" cy="3600450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5198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6" y="121196"/>
            <a:ext cx="7200900" cy="52879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3203575" y="1023938"/>
            <a:ext cx="5616575" cy="3994150"/>
          </a:xfrm>
        </p:spPr>
        <p:txBody>
          <a:bodyPr bIns="432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dirty="0" smtClean="0"/>
              <a:t>Tabelle durch Klicken auf Symbol hinzufügen</a:t>
            </a:r>
            <a:endParaRPr lang="de-CH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 bwMode="ltGray">
          <a:xfrm>
            <a:off x="317499" y="1023392"/>
            <a:ext cx="2736999" cy="637849"/>
          </a:xfrm>
          <a:solidFill>
            <a:schemeClr val="accent1"/>
          </a:solidFill>
        </p:spPr>
        <p:txBody>
          <a:bodyPr lIns="108000" tIns="72000" rIns="108000" bIns="72000" anchor="t" anchorCtr="0">
            <a:sp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CH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89824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41096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type="titleOnly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2953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0791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coBackground" hidden="1"/>
          <p:cNvSpPr/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0825" y="4575174"/>
            <a:ext cx="8569325" cy="769441"/>
          </a:xfrm>
        </p:spPr>
        <p:txBody>
          <a:bodyPr lIns="36000" tIns="0" anchor="b" anchorCtr="0">
            <a:noAutofit/>
          </a:bodyPr>
          <a:lstStyle>
            <a:lvl1pPr>
              <a:defRPr sz="5000" i="1">
                <a:solidFill>
                  <a:srgbClr val="FFFFFF"/>
                </a:solidFill>
              </a:defRPr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10" name="Status" hidden="1"/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LogoFrame"/>
          <p:cNvSpPr>
            <a:spLocks/>
          </p:cNvSpPr>
          <p:nvPr userDrawn="1">
            <p:custDataLst>
              <p:tags r:id="rId5"/>
            </p:custDataLst>
          </p:nvPr>
        </p:nvSpPr>
        <p:spPr bwMode="white">
          <a:xfrm>
            <a:off x="7192950" y="-7200"/>
            <a:ext cx="1627200" cy="1368458"/>
          </a:xfrm>
          <a:custGeom>
            <a:avLst/>
            <a:gdLst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4112861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4537" h="4112861">
                <a:moveTo>
                  <a:pt x="0" y="0"/>
                </a:moveTo>
                <a:lnTo>
                  <a:pt x="4824537" y="0"/>
                </a:lnTo>
                <a:lnTo>
                  <a:pt x="4824537" y="3751737"/>
                </a:lnTo>
                <a:cubicBezTo>
                  <a:pt x="3231541" y="3785819"/>
                  <a:pt x="1634302" y="3906720"/>
                  <a:pt x="0" y="411286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508367" y="252476"/>
            <a:ext cx="996442" cy="84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65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losing with Image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coBackground" hidden="1"/>
          <p:cNvSpPr/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LogoFrame"/>
          <p:cNvSpPr>
            <a:spLocks/>
          </p:cNvSpPr>
          <p:nvPr userDrawn="1">
            <p:custDataLst>
              <p:tags r:id="rId3"/>
            </p:custDataLst>
          </p:nvPr>
        </p:nvSpPr>
        <p:spPr bwMode="white">
          <a:xfrm>
            <a:off x="7192950" y="-7200"/>
            <a:ext cx="1627200" cy="1368458"/>
          </a:xfrm>
          <a:custGeom>
            <a:avLst/>
            <a:gdLst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4112861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4537" h="4112861">
                <a:moveTo>
                  <a:pt x="0" y="0"/>
                </a:moveTo>
                <a:lnTo>
                  <a:pt x="4824537" y="0"/>
                </a:lnTo>
                <a:lnTo>
                  <a:pt x="4824537" y="3751737"/>
                </a:lnTo>
                <a:cubicBezTo>
                  <a:pt x="3231541" y="3785819"/>
                  <a:pt x="1634302" y="3906720"/>
                  <a:pt x="0" y="411286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  <p:custDataLst>
              <p:tags r:id="rId4"/>
            </p:custDataLst>
          </p:nvPr>
        </p:nvSpPr>
        <p:spPr>
          <a:xfrm>
            <a:off x="0" y="0"/>
            <a:ext cx="9144000" cy="5715000"/>
          </a:xfrm>
        </p:spPr>
        <p:txBody>
          <a:bodyPr bIns="432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dirty="0" smtClean="0"/>
              <a:t>Bild durch Klicken auf Symbol hinzufügen</a:t>
            </a:r>
            <a:endParaRPr lang="de-CH" dirty="0"/>
          </a:p>
        </p:txBody>
      </p:sp>
      <p:sp>
        <p:nvSpPr>
          <p:cNvPr id="3" name="Title 3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50825" y="4575174"/>
            <a:ext cx="8569326" cy="769441"/>
          </a:xfrm>
        </p:spPr>
        <p:txBody>
          <a:bodyPr lIns="36000" tIns="0" anchor="b" anchorCtr="0">
            <a:noAutofit/>
          </a:bodyPr>
          <a:lstStyle>
            <a:lvl1pPr>
              <a:defRPr sz="5000" i="1">
                <a:solidFill>
                  <a:srgbClr val="FFFFFF"/>
                </a:solidFill>
              </a:defRPr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11" name="Status" hidden="1"/>
          <p:cNvSpPr txBox="1">
            <a:spLocks/>
          </p:cNvSpPr>
          <p:nvPr userDrawn="1">
            <p:custDataLst>
              <p:tags r:id="rId6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508367" y="252476"/>
            <a:ext cx="996442" cy="84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66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6" y="121196"/>
            <a:ext cx="7201494" cy="1080542"/>
          </a:xfrm>
        </p:spPr>
        <p:txBody>
          <a:bodyPr/>
          <a:lstStyle/>
          <a:p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4" y="1562100"/>
            <a:ext cx="5761038" cy="3600450"/>
          </a:xfrm>
        </p:spPr>
        <p:txBody>
          <a:bodyPr/>
          <a:lstStyle/>
          <a:p>
            <a:pPr lvl="0"/>
            <a:r>
              <a:rPr lang="de-CH" noProof="0" dirty="0" smtClean="0"/>
              <a:t>Textmasterformat bearbeiten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524750" y="1561356"/>
            <a:ext cx="1295400" cy="3601194"/>
          </a:xfrm>
        </p:spPr>
        <p:txBody>
          <a:bodyPr/>
          <a:lstStyle>
            <a:lvl1pPr marL="0" indent="0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solidFill>
                  <a:schemeClr val="tx2"/>
                </a:solidFill>
              </a:defRPr>
            </a:lvl1pPr>
            <a:lvl2pPr marL="216000" indent="0">
              <a:lnSpc>
                <a:spcPct val="100000"/>
              </a:lnSpc>
              <a:spcAft>
                <a:spcPts val="0"/>
              </a:spcAft>
              <a:buFontTx/>
              <a:buNone/>
              <a:defRPr sz="1000"/>
            </a:lvl2pPr>
            <a:lvl3pPr marL="360000" indent="0">
              <a:lnSpc>
                <a:spcPct val="100000"/>
              </a:lnSpc>
              <a:spcAft>
                <a:spcPts val="0"/>
              </a:spcAft>
              <a:buFontTx/>
              <a:buNone/>
              <a:defRPr sz="1000"/>
            </a:lvl3pPr>
            <a:lvl4pPr marL="539750" indent="0">
              <a:lnSpc>
                <a:spcPct val="100000"/>
              </a:lnSpc>
              <a:spcAft>
                <a:spcPts val="0"/>
              </a:spcAft>
              <a:buFontTx/>
              <a:buNone/>
              <a:defRPr sz="1000"/>
            </a:lvl4pPr>
            <a:lvl5pPr marL="712787" indent="0">
              <a:lnSpc>
                <a:spcPct val="100000"/>
              </a:lnSpc>
              <a:spcAft>
                <a:spcPts val="0"/>
              </a:spcAft>
              <a:buFontTx/>
              <a:buNone/>
              <a:defRPr sz="1000"/>
            </a:lvl5pPr>
          </a:lstStyle>
          <a:p>
            <a:pPr lvl="0"/>
            <a:r>
              <a:rPr lang="de-CH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299143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ith Image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/>
          <p:cNvSpPr>
            <a:spLocks noGrp="1"/>
          </p:cNvSpPr>
          <p:nvPr>
            <p:ph type="pic" sz="quarter" idx="10"/>
            <p:custDataLst>
              <p:tags r:id="rId2"/>
            </p:custDataLst>
          </p:nvPr>
        </p:nvSpPr>
        <p:spPr>
          <a:xfrm>
            <a:off x="0" y="0"/>
            <a:ext cx="9144000" cy="5715000"/>
          </a:xfrm>
        </p:spPr>
        <p:txBody>
          <a:bodyPr lIns="0" tIns="0" bIns="468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noProof="0" dirty="0" smtClean="0"/>
              <a:t>Bild durch Klicken auf Symbol hinzufügen</a:t>
            </a:r>
            <a:endParaRPr lang="de-CH" noProof="0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ltGray">
          <a:xfrm>
            <a:off x="0" y="4529242"/>
            <a:ext cx="3923928" cy="513284"/>
          </a:xfrm>
          <a:solidFill>
            <a:schemeClr val="accent1"/>
          </a:solidFill>
        </p:spPr>
        <p:txBody>
          <a:bodyPr lIns="396000" tIns="72000" rIns="144000" bIns="162000">
            <a:spAutoFit/>
          </a:bodyPr>
          <a:lstStyle>
            <a:lvl1pPr marL="0" indent="0" algn="l">
              <a:spcAft>
                <a:spcPts val="0"/>
              </a:spcAft>
              <a:buNone/>
              <a:defRPr sz="9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 smtClean="0"/>
              <a:t>Formatvorlage des Untertitelmasters durch Klicken bearbeiten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 bwMode="ltGray">
          <a:xfrm>
            <a:off x="0" y="3604645"/>
            <a:ext cx="3923928" cy="972404"/>
          </a:xfrm>
          <a:solidFill>
            <a:schemeClr val="accent1"/>
          </a:solidFill>
        </p:spPr>
        <p:txBody>
          <a:bodyPr lIns="396000" tIns="147600" rIns="144000" bIns="118800" anchor="b" anchorCtr="0">
            <a:spAutoFit/>
          </a:bodyPr>
          <a:lstStyle>
            <a:lvl1pPr algn="l">
              <a:lnSpc>
                <a:spcPts val="2700"/>
              </a:lnSpc>
              <a:defRPr sz="2300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9" name="Status" hidden="1"/>
          <p:cNvSpPr txBox="1"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LogoFrame"/>
          <p:cNvSpPr>
            <a:spLocks/>
          </p:cNvSpPr>
          <p:nvPr userDrawn="1">
            <p:custDataLst>
              <p:tags r:id="rId4"/>
            </p:custDataLst>
          </p:nvPr>
        </p:nvSpPr>
        <p:spPr bwMode="white">
          <a:xfrm>
            <a:off x="7192950" y="-7200"/>
            <a:ext cx="1627200" cy="1368458"/>
          </a:xfrm>
          <a:custGeom>
            <a:avLst/>
            <a:gdLst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4112861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4537" h="4112861">
                <a:moveTo>
                  <a:pt x="0" y="0"/>
                </a:moveTo>
                <a:lnTo>
                  <a:pt x="4824537" y="0"/>
                </a:lnTo>
                <a:lnTo>
                  <a:pt x="4824537" y="3751737"/>
                </a:lnTo>
                <a:cubicBezTo>
                  <a:pt x="3231541" y="3785819"/>
                  <a:pt x="1634302" y="3906720"/>
                  <a:pt x="0" y="411286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508367" y="252476"/>
            <a:ext cx="996442" cy="84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844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coBackground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0825" y="1836263"/>
            <a:ext cx="5761038" cy="1021237"/>
          </a:xfrm>
        </p:spPr>
        <p:txBody>
          <a:bodyPr lIns="36000" anchor="b" anchorCtr="0">
            <a:noAutofit/>
          </a:bodyPr>
          <a:lstStyle>
            <a:lvl1pPr algn="l"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4" name="Hider"/>
          <p:cNvSpPr/>
          <p:nvPr userDrawn="1"/>
        </p:nvSpPr>
        <p:spPr bwMode="white">
          <a:xfrm>
            <a:off x="0" y="4945732"/>
            <a:ext cx="9144000" cy="76926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9" name="Status" hidden="1"/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37144" y="5106797"/>
            <a:ext cx="683387" cy="579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662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with Image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0"/>
            <p:custDataLst>
              <p:tags r:id="rId2"/>
            </p:custDataLst>
          </p:nvPr>
        </p:nvSpPr>
        <p:spPr>
          <a:xfrm>
            <a:off x="0" y="0"/>
            <a:ext cx="9144000" cy="4945732"/>
          </a:xfrm>
        </p:spPr>
        <p:txBody>
          <a:bodyPr lIns="0" tIns="0" bIns="468000" anchor="ctr" anchorCtr="0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de-CH" noProof="0" dirty="0" smtClean="0"/>
              <a:t>Bild durch Klicken auf Symbol hinzufügen</a:t>
            </a:r>
            <a:endParaRPr lang="de-CH" noProof="0" dirty="0"/>
          </a:p>
        </p:txBody>
      </p:sp>
      <p:sp>
        <p:nvSpPr>
          <p:cNvPr id="13" name="EcoBackground" hidden="1"/>
          <p:cNvSpPr/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noProof="0" dirty="0"/>
          </a:p>
        </p:txBody>
      </p:sp>
      <p:sp>
        <p:nvSpPr>
          <p:cNvPr id="6" name="Hider"/>
          <p:cNvSpPr/>
          <p:nvPr userDrawn="1"/>
        </p:nvSpPr>
        <p:spPr bwMode="white">
          <a:xfrm>
            <a:off x="0" y="4945732"/>
            <a:ext cx="9144000" cy="76926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noProof="0" dirty="0"/>
          </a:p>
        </p:txBody>
      </p:sp>
      <p:sp>
        <p:nvSpPr>
          <p:cNvPr id="10" name="Status" hidden="1"/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0" y="1870016"/>
            <a:ext cx="3924000" cy="998699"/>
          </a:xfrm>
          <a:solidFill>
            <a:schemeClr val="accent1"/>
          </a:solidFill>
        </p:spPr>
        <p:txBody>
          <a:bodyPr lIns="396000" tIns="144000" bIns="144000" anchor="ctr" anchorCtr="0">
            <a:spAutoFit/>
          </a:bodyPr>
          <a:lstStyle>
            <a:lvl1pPr algn="l">
              <a:defRPr sz="23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pic>
        <p:nvPicPr>
          <p:cNvPr id="3" name="Grafik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37144" y="5106797"/>
            <a:ext cx="683387" cy="579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88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Content 2/3 - 1/3" preserve="1" userDrawn="1">
  <p:cSld name="Image and Content 2/3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250825" y="1562100"/>
            <a:ext cx="5761038" cy="3600450"/>
          </a:xfrm>
        </p:spPr>
        <p:txBody>
          <a:bodyPr lIns="0" bIns="432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dirty="0" smtClean="0"/>
              <a:t>Bild durch Klicken auf Symbol hinzufügen</a:t>
            </a:r>
            <a:endParaRPr lang="de-CH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84167" y="1562100"/>
            <a:ext cx="2735983" cy="3600450"/>
          </a:xfr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54296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Content 1/3 - 2/3" preserve="1" userDrawn="1">
  <p:cSld name="Image and Content 1/3 -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50823" y="1562100"/>
            <a:ext cx="2808000" cy="3600449"/>
          </a:xfrm>
        </p:spPr>
        <p:txBody>
          <a:bodyPr lIns="0" bIns="432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dirty="0" smtClean="0"/>
              <a:t>Bild durch Klicken auf Symbol hinzufügen</a:t>
            </a:r>
            <a:endParaRPr lang="de-CH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132137" y="1562100"/>
            <a:ext cx="5688013" cy="3600448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92562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1/3 - 2/3" preserve="1" userDrawn="1">
  <p:cSld name="Two Content 1/3 -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706812" y="1562100"/>
            <a:ext cx="5113338" cy="3600450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250825" y="1562100"/>
            <a:ext cx="2881313" cy="3600450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923688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2/3 - 1/3" preserve="1" userDrawn="1">
  <p:cSld name="Two Content 2/3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0824" y="1562100"/>
            <a:ext cx="5185668" cy="3600450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6011863" y="1562100"/>
            <a:ext cx="2808287" cy="3600450"/>
          </a:xfr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037846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05013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Folie" r:id="rId25" imgW="353" imgH="353" progId="TCLayout.ActiveDocument.1">
                  <p:embed/>
                </p:oleObj>
              </mc:Choice>
              <mc:Fallback>
                <p:oleObj name="think-cell Foli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6" y="121196"/>
            <a:ext cx="7200900" cy="1080542"/>
          </a:xfrm>
          <a:prstGeom prst="rect">
            <a:avLst/>
          </a:prstGeom>
        </p:spPr>
        <p:txBody>
          <a:bodyPr vert="horz" lIns="36000" tIns="36000" rIns="0" bIns="0" rtlCol="0" anchor="t" anchorCtr="0">
            <a:noAutofit/>
          </a:bodyPr>
          <a:lstStyle/>
          <a:p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562100"/>
            <a:ext cx="5761038" cy="3600450"/>
          </a:xfrm>
          <a:prstGeom prst="rect">
            <a:avLst/>
          </a:prstGeom>
        </p:spPr>
        <p:txBody>
          <a:bodyPr vert="horz" lIns="36000" tIns="0" rIns="0" bIns="0" rtlCol="0">
            <a:noAutofit/>
          </a:bodyPr>
          <a:lstStyle/>
          <a:p>
            <a:pPr lvl="0"/>
            <a:r>
              <a:rPr lang="de-CH" noProof="0" dirty="0" smtClean="0"/>
              <a:t>Textmasterformat bearbeiten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sp>
        <p:nvSpPr>
          <p:cNvPr id="12" name="Footnote" hidden="1"/>
          <p:cNvSpPr txBox="1"/>
          <p:nvPr>
            <p:custDataLst>
              <p:tags r:id="rId20"/>
            </p:custDataLst>
          </p:nvPr>
        </p:nvSpPr>
        <p:spPr>
          <a:xfrm>
            <a:off x="250824" y="5162550"/>
            <a:ext cx="5761039" cy="287238"/>
          </a:xfrm>
          <a:prstGeom prst="rect">
            <a:avLst/>
          </a:prstGeom>
          <a:noFill/>
        </p:spPr>
        <p:txBody>
          <a:bodyPr wrap="square" lIns="36000" tIns="0" rIns="0" bIns="0" rtlCol="0">
            <a:noAutofit/>
          </a:bodyPr>
          <a:lstStyle/>
          <a:p>
            <a:endParaRPr lang="de-CH" sz="6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gendaTitleFrame" hidden="1"/>
          <p:cNvSpPr>
            <a:spLocks/>
          </p:cNvSpPr>
          <p:nvPr userDrawn="1">
            <p:custDataLst>
              <p:tags r:id="rId21"/>
            </p:custDataLst>
          </p:nvPr>
        </p:nvSpPr>
        <p:spPr bwMode="gray">
          <a:xfrm>
            <a:off x="7524328" y="-5680"/>
            <a:ext cx="1296144" cy="622742"/>
          </a:xfrm>
          <a:custGeom>
            <a:avLst/>
            <a:gdLst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800200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800200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08652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0220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846" h="1800200">
                <a:moveTo>
                  <a:pt x="0" y="0"/>
                </a:moveTo>
                <a:lnTo>
                  <a:pt x="3746846" y="0"/>
                </a:lnTo>
                <a:cubicBezTo>
                  <a:pt x="3746846" y="600067"/>
                  <a:pt x="3740220" y="1233263"/>
                  <a:pt x="3746846" y="1515278"/>
                </a:cubicBezTo>
                <a:cubicBezTo>
                  <a:pt x="2544280" y="1530739"/>
                  <a:pt x="1255575" y="1665470"/>
                  <a:pt x="0" y="1800200"/>
                </a:cubicBezTo>
                <a:lnTo>
                  <a:pt x="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8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tatus" hidden="1"/>
          <p:cNvSpPr txBox="1">
            <a:spLocks/>
          </p:cNvSpPr>
          <p:nvPr userDrawn="1">
            <p:custDataLst>
              <p:tags r:id="rId22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ooter"/>
          <p:cNvSpPr txBox="1">
            <a:spLocks/>
          </p:cNvSpPr>
          <p:nvPr userDrawn="1">
            <p:custDataLst>
              <p:tags r:id="rId23"/>
            </p:custDataLst>
          </p:nvPr>
        </p:nvSpPr>
        <p:spPr>
          <a:xfrm>
            <a:off x="250825" y="5377780"/>
            <a:ext cx="5761038" cy="23226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de-CH" sz="7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Point-Präsentation | 30.05.2016</a:t>
            </a:r>
            <a:endParaRPr lang="de-CH" sz="7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>
            <p:custDataLst>
              <p:tags r:id="rId24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398129" y="5235194"/>
            <a:ext cx="464312" cy="393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894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0" r:id="rId2"/>
    <p:sldLayoutId id="2147483649" r:id="rId3"/>
    <p:sldLayoutId id="2147483667" r:id="rId4"/>
    <p:sldLayoutId id="2147483651" r:id="rId5"/>
    <p:sldLayoutId id="2147483659" r:id="rId6"/>
    <p:sldLayoutId id="2147483661" r:id="rId7"/>
    <p:sldLayoutId id="2147483662" r:id="rId8"/>
    <p:sldLayoutId id="2147483663" r:id="rId9"/>
    <p:sldLayoutId id="2147483665" r:id="rId10"/>
    <p:sldLayoutId id="2147483670" r:id="rId11"/>
    <p:sldLayoutId id="2147483654" r:id="rId12"/>
    <p:sldLayoutId id="2147483671" r:id="rId13"/>
    <p:sldLayoutId id="2147483655" r:id="rId14"/>
    <p:sldLayoutId id="2147483668" r:id="rId15"/>
    <p:sldLayoutId id="2147483669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2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D82034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96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82034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82034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1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82034"/>
        </a:buClr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2175" indent="-179388" algn="l" defTabSz="107632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82034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58" userDrawn="1">
          <p15:clr>
            <a:srgbClr val="F26B43"/>
          </p15:clr>
        </p15:guide>
        <p15:guide id="2" pos="3787" userDrawn="1">
          <p15:clr>
            <a:srgbClr val="F26B43"/>
          </p15:clr>
        </p15:guide>
        <p15:guide id="3" pos="4740" userDrawn="1">
          <p15:clr>
            <a:srgbClr val="F26B43"/>
          </p15:clr>
        </p15:guide>
        <p15:guide id="4" pos="5556" userDrawn="1">
          <p15:clr>
            <a:srgbClr val="F26B43"/>
          </p15:clr>
        </p15:guide>
        <p15:guide id="5" orient="horz" pos="984" userDrawn="1">
          <p15:clr>
            <a:srgbClr val="F26B43"/>
          </p15:clr>
        </p15:guide>
        <p15:guide id="6" orient="horz" pos="3252" userDrawn="1">
          <p15:clr>
            <a:srgbClr val="F26B43"/>
          </p15:clr>
        </p15:guide>
        <p15:guide id="7" orient="horz" pos="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2"/>
          <p:cNvSpPr>
            <a:spLocks noGrp="1"/>
          </p:cNvSpPr>
          <p:nvPr>
            <p:ph type="title"/>
          </p:nvPr>
        </p:nvSpPr>
        <p:spPr>
          <a:xfrm>
            <a:off x="250826" y="49188"/>
            <a:ext cx="8893174" cy="594513"/>
          </a:xfrm>
        </p:spPr>
        <p:txBody>
          <a:bodyPr anchor="t" anchorCtr="0"/>
          <a:lstStyle/>
          <a:p>
            <a:pPr algn="ctr"/>
            <a:r>
              <a:rPr lang="de-CH" sz="3600" b="1" dirty="0" smtClean="0">
                <a:solidFill>
                  <a:srgbClr val="6F1975"/>
                </a:solidFill>
              </a:rPr>
              <a:t>Design Challenge</a:t>
            </a:r>
            <a:endParaRPr lang="de-CH" sz="3600" b="1" dirty="0">
              <a:solidFill>
                <a:srgbClr val="6F1975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254770" y="877380"/>
            <a:ext cx="8565380" cy="900000"/>
          </a:xfrm>
          <a:prstGeom prst="rect">
            <a:avLst/>
          </a:prstGeom>
          <a:noFill/>
          <a:ln w="19050" cap="rnd">
            <a:solidFill>
              <a:srgbClr val="6D187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254770" y="4045732"/>
            <a:ext cx="8565380" cy="900000"/>
          </a:xfrm>
          <a:prstGeom prst="rect">
            <a:avLst/>
          </a:prstGeom>
          <a:noFill/>
          <a:ln w="19050" cap="rnd">
            <a:solidFill>
              <a:srgbClr val="6D187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hteck 49"/>
          <p:cNvSpPr/>
          <p:nvPr/>
        </p:nvSpPr>
        <p:spPr>
          <a:xfrm>
            <a:off x="250825" y="2011556"/>
            <a:ext cx="3960000" cy="1800000"/>
          </a:xfrm>
          <a:prstGeom prst="rect">
            <a:avLst/>
          </a:prstGeom>
          <a:noFill/>
          <a:ln w="19050" cap="rnd">
            <a:solidFill>
              <a:srgbClr val="6D187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hteck 50"/>
          <p:cNvSpPr/>
          <p:nvPr/>
        </p:nvSpPr>
        <p:spPr>
          <a:xfrm>
            <a:off x="4855775" y="2011556"/>
            <a:ext cx="3960000" cy="1800000"/>
          </a:xfrm>
          <a:prstGeom prst="rect">
            <a:avLst/>
          </a:prstGeom>
          <a:solidFill>
            <a:srgbClr val="C4B300">
              <a:alpha val="35000"/>
            </a:srgbClr>
          </a:solidFill>
          <a:ln w="19050" cap="rnd">
            <a:solidFill>
              <a:srgbClr val="6D187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430825" y="930148"/>
            <a:ext cx="2812174" cy="212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6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Probleme</a:t>
            </a:r>
            <a:endParaRPr lang="de-CH" sz="1600" i="1" dirty="0">
              <a:solidFill>
                <a:schemeClr val="tx1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430825" y="2046963"/>
            <a:ext cx="2812174" cy="212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6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Fragestellungen</a:t>
            </a:r>
            <a:endParaRPr lang="de-CH" sz="1600" i="1" dirty="0">
              <a:solidFill>
                <a:schemeClr val="tx1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4" name="Ellipse 53"/>
          <p:cNvSpPr/>
          <p:nvPr/>
        </p:nvSpPr>
        <p:spPr>
          <a:xfrm>
            <a:off x="70825" y="676420"/>
            <a:ext cx="360000" cy="360000"/>
          </a:xfrm>
          <a:prstGeom prst="ellipse">
            <a:avLst/>
          </a:prstGeom>
          <a:solidFill>
            <a:srgbClr val="DE822B"/>
          </a:solidFill>
          <a:ln w="1905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2000" b="1" dirty="0" smtClean="0">
                <a:solidFill>
                  <a:srgbClr val="FFFFFF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1</a:t>
            </a:r>
            <a:endParaRPr lang="de-CH" sz="2000" b="1" dirty="0">
              <a:solidFill>
                <a:srgbClr val="FFFFFF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5" name="Ellipse 54"/>
          <p:cNvSpPr/>
          <p:nvPr/>
        </p:nvSpPr>
        <p:spPr>
          <a:xfrm>
            <a:off x="70825" y="1831556"/>
            <a:ext cx="360000" cy="360000"/>
          </a:xfrm>
          <a:prstGeom prst="ellipse">
            <a:avLst/>
          </a:prstGeom>
          <a:solidFill>
            <a:srgbClr val="D82034"/>
          </a:solidFill>
          <a:ln w="1905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2000" b="1" dirty="0">
                <a:solidFill>
                  <a:srgbClr val="FFFFFF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6" name="Ellipse 55"/>
          <p:cNvSpPr/>
          <p:nvPr/>
        </p:nvSpPr>
        <p:spPr>
          <a:xfrm>
            <a:off x="4697413" y="1831556"/>
            <a:ext cx="360000" cy="360000"/>
          </a:xfrm>
          <a:prstGeom prst="ellipse">
            <a:avLst/>
          </a:prstGeom>
          <a:solidFill>
            <a:srgbClr val="C4B300"/>
          </a:solidFill>
          <a:ln w="1905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2000" b="1" dirty="0" smtClean="0">
                <a:solidFill>
                  <a:srgbClr val="FFFFFF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3</a:t>
            </a:r>
            <a:endParaRPr lang="de-CH" sz="2000" b="1" dirty="0">
              <a:solidFill>
                <a:srgbClr val="FFFFFF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057413" y="2046963"/>
            <a:ext cx="2812174" cy="212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6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Design Challenge</a:t>
            </a:r>
            <a:endParaRPr lang="de-CH" sz="1600" i="1" dirty="0">
              <a:solidFill>
                <a:schemeClr val="tx1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8" name="Ellipse 57"/>
          <p:cNvSpPr/>
          <p:nvPr/>
        </p:nvSpPr>
        <p:spPr>
          <a:xfrm>
            <a:off x="69644" y="3865732"/>
            <a:ext cx="360000" cy="360000"/>
          </a:xfrm>
          <a:prstGeom prst="ellipse">
            <a:avLst/>
          </a:prstGeom>
          <a:solidFill>
            <a:srgbClr val="925297"/>
          </a:solidFill>
          <a:ln w="1905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CH" sz="2000" b="1" dirty="0" smtClean="0">
                <a:solidFill>
                  <a:srgbClr val="FFFFFF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4</a:t>
            </a:r>
            <a:endParaRPr lang="de-CH" sz="2000" b="1" dirty="0">
              <a:solidFill>
                <a:srgbClr val="FFFFFF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30825" y="4102654"/>
            <a:ext cx="2812174" cy="212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6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t>Rahmenbedingungen</a:t>
            </a:r>
            <a:endParaRPr lang="de-CH" sz="1600" i="1" dirty="0">
              <a:solidFill>
                <a:schemeClr val="tx1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60" name="Abgerundetes Rechteck 59"/>
          <p:cNvSpPr/>
          <p:nvPr/>
        </p:nvSpPr>
        <p:spPr>
          <a:xfrm rot="21300000">
            <a:off x="5119204" y="2382792"/>
            <a:ext cx="3348020" cy="1104967"/>
          </a:xfrm>
          <a:prstGeom prst="roundRect">
            <a:avLst>
              <a:gd name="adj" fmla="val 717"/>
            </a:avLst>
          </a:prstGeom>
          <a:solidFill>
            <a:srgbClr val="C4B300"/>
          </a:solidFill>
          <a:ln>
            <a:noFill/>
          </a:ln>
          <a:effectLst>
            <a:outerShdw blurRad="50800" dist="38100" dir="2700000" algn="tl" rotWithShape="0">
              <a:schemeClr val="tx1">
                <a:lumMod val="75000"/>
                <a:lumOff val="25000"/>
                <a:alpha val="40000"/>
              </a:schemeClr>
            </a:outerShdw>
          </a:effectLst>
          <a:scene3d>
            <a:camera prst="perspectiveRelaxed">
              <a:rot lat="21540000" lon="21000000" rev="12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 rot="21178814">
            <a:off x="5116794" y="2375612"/>
            <a:ext cx="322470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altLang="de-DE" sz="1400" i="1" dirty="0" smtClean="0">
                <a:solidFill>
                  <a:schemeClr val="bg1"/>
                </a:solidFill>
                <a:latin typeface="Times New Roman" panose="02020603050405020304" pitchFamily="18" charset="0"/>
              </a:rPr>
              <a:t>Gemeinsame Fragestellung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CH" altLang="de-DE" sz="1400" i="1" dirty="0" smtClean="0">
                <a:solidFill>
                  <a:schemeClr val="bg1"/>
                </a:solidFill>
                <a:latin typeface="Times New Roman" panose="02020603050405020304" pitchFamily="18" charset="0"/>
              </a:rPr>
              <a:t>Wie schaffen wir einen einfachen XY-Prozess für unsere Kunden?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CH" altLang="de-DE" sz="1400" i="1" dirty="0" smtClean="0">
                <a:solidFill>
                  <a:schemeClr val="bg1"/>
                </a:solidFill>
                <a:latin typeface="Times New Roman" panose="02020603050405020304" pitchFamily="18" charset="0"/>
              </a:rPr>
              <a:t>Wie gestalten wir ein Produkt</a:t>
            </a:r>
            <a:r>
              <a:rPr lang="de-CH" altLang="de-DE" sz="1400" i="1" smtClean="0">
                <a:solidFill>
                  <a:schemeClr val="bg1"/>
                </a:solidFill>
                <a:latin typeface="Times New Roman" panose="02020603050405020304" pitchFamily="18" charset="0"/>
              </a:rPr>
              <a:t>, das eine </a:t>
            </a:r>
            <a:r>
              <a:rPr lang="de-CH" altLang="de-DE" sz="1400" i="1" dirty="0" smtClean="0">
                <a:solidFill>
                  <a:schemeClr val="bg1"/>
                </a:solidFill>
                <a:latin typeface="Times New Roman" panose="02020603050405020304" pitchFamily="18" charset="0"/>
              </a:rPr>
              <a:t>konkrete Zielgruppe begeistert?</a:t>
            </a:r>
            <a:endParaRPr lang="de-CH" altLang="de-DE" sz="1400" i="1" dirty="0">
              <a:solidFill>
                <a:schemeClr val="bg1"/>
              </a:solidFill>
              <a:latin typeface="Times New Roman" panose="02020603050405020304" pitchFamily="18" charset="0"/>
            </a:endParaRPr>
          </a:p>
        </p:txBody>
      </p:sp>
      <p:sp>
        <p:nvSpPr>
          <p:cNvPr id="62" name="Abgerundetes Rechteck 61"/>
          <p:cNvSpPr/>
          <p:nvPr/>
        </p:nvSpPr>
        <p:spPr>
          <a:xfrm rot="21300000">
            <a:off x="1783912" y="1072008"/>
            <a:ext cx="1362283" cy="523554"/>
          </a:xfrm>
          <a:prstGeom prst="roundRect">
            <a:avLst>
              <a:gd name="adj" fmla="val 717"/>
            </a:avLst>
          </a:prstGeom>
          <a:solidFill>
            <a:srgbClr val="DE822B"/>
          </a:solidFill>
          <a:ln>
            <a:noFill/>
          </a:ln>
          <a:effectLst>
            <a:outerShdw blurRad="50800" dist="38100" dir="2700000" algn="tl" rotWithShape="0">
              <a:schemeClr val="tx1">
                <a:lumMod val="75000"/>
                <a:lumOff val="25000"/>
                <a:alpha val="40000"/>
              </a:schemeClr>
            </a:outerShdw>
          </a:effectLst>
          <a:scene3d>
            <a:camera prst="perspectiveRelaxed">
              <a:rot lat="21540000" lon="21000000" rev="12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hteck 62"/>
          <p:cNvSpPr/>
          <p:nvPr/>
        </p:nvSpPr>
        <p:spPr>
          <a:xfrm rot="21178814">
            <a:off x="1805379" y="1062450"/>
            <a:ext cx="12947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CH" altLang="de-DE" sz="1400" i="1" dirty="0" smtClean="0">
                <a:solidFill>
                  <a:schemeClr val="bg1"/>
                </a:solidFill>
                <a:latin typeface="Times New Roman" panose="02020603050405020304" pitchFamily="18" charset="0"/>
              </a:rPr>
              <a:t>Probleme aus Kundensicht</a:t>
            </a:r>
            <a:endParaRPr lang="de-CH" altLang="de-DE" sz="1400" i="1" dirty="0">
              <a:solidFill>
                <a:schemeClr val="bg1"/>
              </a:solidFill>
              <a:latin typeface="Times New Roman" panose="02020603050405020304" pitchFamily="18" charset="0"/>
            </a:endParaRPr>
          </a:p>
        </p:txBody>
      </p:sp>
      <p:sp>
        <p:nvSpPr>
          <p:cNvPr id="64" name="Abgerundetes Rechteck 63"/>
          <p:cNvSpPr/>
          <p:nvPr/>
        </p:nvSpPr>
        <p:spPr>
          <a:xfrm rot="21300000">
            <a:off x="1738607" y="2647170"/>
            <a:ext cx="1393293" cy="731299"/>
          </a:xfrm>
          <a:prstGeom prst="roundRect">
            <a:avLst>
              <a:gd name="adj" fmla="val 717"/>
            </a:avLst>
          </a:prstGeom>
          <a:solidFill>
            <a:schemeClr val="hlink"/>
          </a:solidFill>
          <a:ln>
            <a:noFill/>
          </a:ln>
          <a:effectLst>
            <a:outerShdw blurRad="50800" dist="38100" dir="2700000" algn="tl" rotWithShape="0">
              <a:schemeClr val="tx1">
                <a:lumMod val="75000"/>
                <a:lumOff val="25000"/>
                <a:alpha val="40000"/>
              </a:schemeClr>
            </a:outerShdw>
          </a:effectLst>
          <a:scene3d>
            <a:camera prst="perspectiveRelaxed">
              <a:rot lat="21540000" lon="21000000" rev="12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hteck 64"/>
          <p:cNvSpPr/>
          <p:nvPr/>
        </p:nvSpPr>
        <p:spPr>
          <a:xfrm rot="21178814">
            <a:off x="1573355" y="2595256"/>
            <a:ext cx="167596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CH" altLang="de-DE" sz="1400" i="1" dirty="0" smtClean="0">
                <a:solidFill>
                  <a:schemeClr val="bg1"/>
                </a:solidFill>
                <a:latin typeface="Times New Roman" panose="02020603050405020304" pitchFamily="18" charset="0"/>
              </a:rPr>
              <a:t>Formulierung verschiedener Fragestellungen</a:t>
            </a:r>
            <a:endParaRPr lang="de-CH" altLang="de-DE" sz="1400" i="1" dirty="0">
              <a:solidFill>
                <a:schemeClr val="bg1"/>
              </a:solidFill>
              <a:latin typeface="Times New Roman" panose="02020603050405020304" pitchFamily="18" charset="0"/>
            </a:endParaRPr>
          </a:p>
        </p:txBody>
      </p:sp>
      <p:sp>
        <p:nvSpPr>
          <p:cNvPr id="66" name="Abgerundetes Rechteck 65"/>
          <p:cNvSpPr/>
          <p:nvPr/>
        </p:nvSpPr>
        <p:spPr>
          <a:xfrm rot="21300000">
            <a:off x="2562920" y="4255345"/>
            <a:ext cx="1845086" cy="538999"/>
          </a:xfrm>
          <a:prstGeom prst="roundRect">
            <a:avLst>
              <a:gd name="adj" fmla="val 717"/>
            </a:avLst>
          </a:prstGeom>
          <a:solidFill>
            <a:srgbClr val="925297"/>
          </a:solidFill>
          <a:ln>
            <a:noFill/>
          </a:ln>
          <a:effectLst>
            <a:outerShdw blurRad="50800" dist="38100" dir="2700000" algn="tl" rotWithShape="0">
              <a:schemeClr val="tx1">
                <a:lumMod val="75000"/>
                <a:lumOff val="25000"/>
                <a:alpha val="40000"/>
              </a:schemeClr>
            </a:outerShdw>
          </a:effectLst>
          <a:scene3d>
            <a:camera prst="perspectiveRelaxed">
              <a:rot lat="21540000" lon="21000000" rev="12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hteck 66"/>
          <p:cNvSpPr/>
          <p:nvPr/>
        </p:nvSpPr>
        <p:spPr>
          <a:xfrm rot="21178814">
            <a:off x="2574006" y="4243029"/>
            <a:ext cx="1741356" cy="523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altLang="de-DE" sz="1400" i="1" dirty="0" smtClean="0">
                <a:solidFill>
                  <a:schemeClr val="bg1"/>
                </a:solidFill>
                <a:latin typeface="Times New Roman" panose="02020603050405020304" pitchFamily="18" charset="0"/>
              </a:rPr>
              <a:t>Rahmenbedingungen zur Lösung der DC</a:t>
            </a:r>
            <a:endParaRPr lang="de-CH" altLang="de-DE" sz="1400" i="1" dirty="0">
              <a:solidFill>
                <a:schemeClr val="bg1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89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GEOFPAGES" val="true"/>
  <p:tag name="VERSINFO" val="SWL1002"/>
  <p:tag name="TEMPLATEID" val="SwissLife"/>
  <p:tag name="CLASSIFICATION" val="1"/>
  <p:tag name="CLIENT" val="SWL"/>
  <p:tag name="VERSION" val="1002"/>
  <p:tag name="REFERENCEDATE" val="42520"/>
  <p:tag name="DATE" val="30.05.2016"/>
  <p:tag name="FOOTER1" val=""/>
  <p:tag name="SHOWFOOTER" val="1"/>
  <p:tag name="THINKCELLUNDODONOTDELETE" val="0"/>
  <p:tag name="LANGUAGEID" val="2055"/>
  <p:tag name="BRANDID" val="SwissLife"/>
  <p:tag name="COLORTHEMEID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Fram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Hid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Fram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Hid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Fram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Fram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HID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AgendaTitleFrame"/>
  <p:tag name="HANDLINGCONTENT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heme/theme1.xml><?xml version="1.0" encoding="utf-8"?>
<a:theme xmlns:a="http://schemas.openxmlformats.org/drawingml/2006/main" name="Swiss Life">
  <a:themeElements>
    <a:clrScheme name="SwissLife">
      <a:dk1>
        <a:srgbClr val="000000"/>
      </a:dk1>
      <a:lt1>
        <a:srgbClr val="FFFFFF"/>
      </a:lt1>
      <a:dk2>
        <a:srgbClr val="6D1874"/>
      </a:dk2>
      <a:lt2>
        <a:srgbClr val="D82034"/>
      </a:lt2>
      <a:accent1>
        <a:srgbClr val="6D1874"/>
      </a:accent1>
      <a:accent2>
        <a:srgbClr val="B68CBA"/>
      </a:accent2>
      <a:accent3>
        <a:srgbClr val="808080"/>
      </a:accent3>
      <a:accent4>
        <a:srgbClr val="C0C0C0"/>
      </a:accent4>
      <a:accent5>
        <a:srgbClr val="A11C36"/>
      </a:accent5>
      <a:accent6>
        <a:srgbClr val="D08E9B"/>
      </a:accent6>
      <a:hlink>
        <a:srgbClr val="D82034"/>
      </a:hlink>
      <a:folHlink>
        <a:srgbClr val="808080"/>
      </a:folHlink>
    </a:clrScheme>
    <a:fontScheme name="SwissLife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SwissLife">
        <a:dk1>
          <a:sysClr val="windowText" lastClr="000000"/>
        </a:dk1>
        <a:lt1>
          <a:sysClr val="window" lastClr="FFFFFF"/>
        </a:lt1>
        <a:dk2>
          <a:srgbClr val="A11C36"/>
        </a:dk2>
        <a:lt2>
          <a:srgbClr val="D82034"/>
        </a:lt2>
        <a:accent1>
          <a:srgbClr val="A11C36"/>
        </a:accent1>
        <a:accent2>
          <a:srgbClr val="D08E9B"/>
        </a:accent2>
        <a:accent3>
          <a:srgbClr val="808080"/>
        </a:accent3>
        <a:accent4>
          <a:srgbClr val="C0C0C0"/>
        </a:accent4>
        <a:accent5>
          <a:srgbClr val="6D1874"/>
        </a:accent5>
        <a:accent6>
          <a:srgbClr val="B68CBA"/>
        </a:accent6>
        <a:hlink>
          <a:srgbClr val="D82034"/>
        </a:hlink>
        <a:folHlink>
          <a:srgbClr val="A0A0A0"/>
        </a:folHlink>
      </a:clrScheme>
    </a:extraClrScheme>
  </a:extraClrSchemeLst>
  <a:extLst>
    <a:ext uri="{05A4C25C-085E-4340-85A3-A5531E510DB2}">
      <thm15:themeFamily xmlns:thm15="http://schemas.microsoft.com/office/thememl/2012/main" name="SwissLife_20150505(1).potx" id="{B7309E45-1E9C-422E-BE51-87B0A2A3C1EE}" vid="{D2350A25-F0EA-456E-9FB0-1C04EB73F3E9}"/>
    </a:ext>
  </a:extLst>
</a:theme>
</file>

<file path=ppt/theme/theme2.xml><?xml version="1.0" encoding="utf-8"?>
<a:theme xmlns:a="http://schemas.openxmlformats.org/drawingml/2006/main" name="Office Theme">
  <a:themeElements>
    <a:clrScheme name="SwissLife - Bordeaux">
      <a:dk1>
        <a:sysClr val="windowText" lastClr="000000"/>
      </a:dk1>
      <a:lt1>
        <a:sysClr val="window" lastClr="FFFFFF"/>
      </a:lt1>
      <a:dk2>
        <a:srgbClr val="A11C36"/>
      </a:dk2>
      <a:lt2>
        <a:srgbClr val="D82034"/>
      </a:lt2>
      <a:accent1>
        <a:srgbClr val="A11C36"/>
      </a:accent1>
      <a:accent2>
        <a:srgbClr val="D08E9B"/>
      </a:accent2>
      <a:accent3>
        <a:srgbClr val="808080"/>
      </a:accent3>
      <a:accent4>
        <a:srgbClr val="C0C0C0"/>
      </a:accent4>
      <a:accent5>
        <a:srgbClr val="6D1874"/>
      </a:accent5>
      <a:accent6>
        <a:srgbClr val="B68CBA"/>
      </a:accent6>
      <a:hlink>
        <a:srgbClr val="0000FF"/>
      </a:hlink>
      <a:folHlink>
        <a:srgbClr val="6D1874"/>
      </a:folHlink>
    </a:clrScheme>
    <a:fontScheme name="SwissLife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wissLife - Bordeaux">
      <a:dk1>
        <a:sysClr val="windowText" lastClr="000000"/>
      </a:dk1>
      <a:lt1>
        <a:sysClr val="window" lastClr="FFFFFF"/>
      </a:lt1>
      <a:dk2>
        <a:srgbClr val="A11C36"/>
      </a:dk2>
      <a:lt2>
        <a:srgbClr val="D82034"/>
      </a:lt2>
      <a:accent1>
        <a:srgbClr val="A11C36"/>
      </a:accent1>
      <a:accent2>
        <a:srgbClr val="D08E9B"/>
      </a:accent2>
      <a:accent3>
        <a:srgbClr val="808080"/>
      </a:accent3>
      <a:accent4>
        <a:srgbClr val="C0C0C0"/>
      </a:accent4>
      <a:accent5>
        <a:srgbClr val="6D1874"/>
      </a:accent5>
      <a:accent6>
        <a:srgbClr val="B68CBA"/>
      </a:accent6>
      <a:hlink>
        <a:srgbClr val="0000FF"/>
      </a:hlink>
      <a:folHlink>
        <a:srgbClr val="6D1874"/>
      </a:folHlink>
    </a:clrScheme>
    <a:fontScheme name="SwissLife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0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1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2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3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4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5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6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2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3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4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5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6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7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8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9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wissLife</Template>
  <TotalTime>0</TotalTime>
  <Words>46</Words>
  <Application>Microsoft Office PowerPoint</Application>
  <PresentationFormat>Bildschirmpräsentation (16:10)</PresentationFormat>
  <Paragraphs>1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Times New Roman</vt:lpstr>
      <vt:lpstr>Swiss Life</vt:lpstr>
      <vt:lpstr>think-cell Folie</vt:lpstr>
      <vt:lpstr>Design Challenge</vt:lpstr>
    </vt:vector>
  </TitlesOfParts>
  <Company>Swiss Lif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afner Marius (CH/MCZ)</dc:creator>
  <cp:lastModifiedBy>Grunewald Constantin (CH/MCZ)</cp:lastModifiedBy>
  <cp:revision>117</cp:revision>
  <dcterms:created xsi:type="dcterms:W3CDTF">2016-05-30T15:26:52Z</dcterms:created>
  <dcterms:modified xsi:type="dcterms:W3CDTF">2017-04-13T11:33:45Z</dcterms:modified>
</cp:coreProperties>
</file>